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gif" ContentType="image/gif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3"/>
  </p:notesMasterIdLst>
  <p:sldIdLst>
    <p:sldId id="297" r:id="rId2"/>
    <p:sldId id="565" r:id="rId3"/>
    <p:sldId id="349" r:id="rId4"/>
    <p:sldId id="444" r:id="rId5"/>
    <p:sldId id="573" r:id="rId6"/>
    <p:sldId id="394" r:id="rId7"/>
    <p:sldId id="395" r:id="rId8"/>
    <p:sldId id="445" r:id="rId9"/>
    <p:sldId id="397" r:id="rId10"/>
    <p:sldId id="447" r:id="rId11"/>
    <p:sldId id="400" r:id="rId12"/>
    <p:sldId id="401" r:id="rId13"/>
    <p:sldId id="402" r:id="rId14"/>
    <p:sldId id="406" r:id="rId15"/>
    <p:sldId id="574" r:id="rId16"/>
    <p:sldId id="298" r:id="rId17"/>
    <p:sldId id="299" r:id="rId18"/>
    <p:sldId id="350" r:id="rId19"/>
    <p:sldId id="383" r:id="rId20"/>
    <p:sldId id="384" r:id="rId21"/>
    <p:sldId id="385" r:id="rId22"/>
    <p:sldId id="387" r:id="rId23"/>
    <p:sldId id="388" r:id="rId24"/>
    <p:sldId id="389" r:id="rId25"/>
    <p:sldId id="391" r:id="rId26"/>
    <p:sldId id="390" r:id="rId27"/>
    <p:sldId id="448" r:id="rId28"/>
    <p:sldId id="449" r:id="rId29"/>
    <p:sldId id="392" r:id="rId30"/>
    <p:sldId id="450" r:id="rId31"/>
    <p:sldId id="405" r:id="rId32"/>
    <p:sldId id="407" r:id="rId33"/>
    <p:sldId id="408" r:id="rId34"/>
    <p:sldId id="386" r:id="rId35"/>
    <p:sldId id="393" r:id="rId36"/>
    <p:sldId id="358" r:id="rId37"/>
    <p:sldId id="410" r:id="rId38"/>
    <p:sldId id="411" r:id="rId39"/>
    <p:sldId id="412" r:id="rId40"/>
    <p:sldId id="413" r:id="rId41"/>
    <p:sldId id="575" r:id="rId42"/>
    <p:sldId id="414" r:id="rId43"/>
    <p:sldId id="451" r:id="rId44"/>
    <p:sldId id="415" r:id="rId45"/>
    <p:sldId id="416" r:id="rId46"/>
    <p:sldId id="418" r:id="rId47"/>
    <p:sldId id="417" r:id="rId48"/>
    <p:sldId id="419" r:id="rId49"/>
    <p:sldId id="420" r:id="rId50"/>
    <p:sldId id="452" r:id="rId51"/>
    <p:sldId id="421" r:id="rId52"/>
    <p:sldId id="422" r:id="rId53"/>
    <p:sldId id="425" r:id="rId54"/>
    <p:sldId id="423" r:id="rId55"/>
    <p:sldId id="424" r:id="rId56"/>
    <p:sldId id="426" r:id="rId57"/>
    <p:sldId id="427" r:id="rId58"/>
    <p:sldId id="428" r:id="rId59"/>
    <p:sldId id="429" r:id="rId60"/>
    <p:sldId id="431" r:id="rId61"/>
    <p:sldId id="453" r:id="rId62"/>
    <p:sldId id="432" r:id="rId63"/>
    <p:sldId id="433" r:id="rId64"/>
    <p:sldId id="438" r:id="rId65"/>
    <p:sldId id="454" r:id="rId66"/>
    <p:sldId id="459" r:id="rId67"/>
    <p:sldId id="457" r:id="rId68"/>
    <p:sldId id="458" r:id="rId69"/>
    <p:sldId id="461" r:id="rId70"/>
    <p:sldId id="577" r:id="rId71"/>
    <p:sldId id="497" r:id="rId72"/>
    <p:sldId id="500" r:id="rId73"/>
    <p:sldId id="501" r:id="rId74"/>
    <p:sldId id="499" r:id="rId75"/>
    <p:sldId id="540" r:id="rId76"/>
    <p:sldId id="503" r:id="rId77"/>
    <p:sldId id="504" r:id="rId78"/>
    <p:sldId id="531" r:id="rId79"/>
    <p:sldId id="532" r:id="rId80"/>
    <p:sldId id="514" r:id="rId81"/>
    <p:sldId id="533" r:id="rId82"/>
    <p:sldId id="580" r:id="rId83"/>
    <p:sldId id="581" r:id="rId84"/>
    <p:sldId id="537" r:id="rId85"/>
    <p:sldId id="534" r:id="rId86"/>
    <p:sldId id="568" r:id="rId87"/>
    <p:sldId id="569" r:id="rId88"/>
    <p:sldId id="570" r:id="rId89"/>
    <p:sldId id="578" r:id="rId90"/>
    <p:sldId id="572" r:id="rId91"/>
    <p:sldId id="579" r:id="rId9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06" autoAdjust="0"/>
    <p:restoredTop sz="94162" autoAdjust="0"/>
  </p:normalViewPr>
  <p:slideViewPr>
    <p:cSldViewPr snapToGrid="0">
      <p:cViewPr varScale="1">
        <p:scale>
          <a:sx n="82" d="100"/>
          <a:sy n="82" d="100"/>
        </p:scale>
        <p:origin x="1608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97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notesMaster" Target="notesMasters/notesMaster1.xml"/><Relationship Id="rId98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commentAuthors" Target="commentAuthors.xml"/><Relationship Id="rId9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2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6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es this answer a Y/N</a:t>
            </a:r>
            <a:r>
              <a:rPr lang="en-US" baseline="0" dirty="0"/>
              <a:t> question?</a:t>
            </a:r>
          </a:p>
          <a:p>
            <a:r>
              <a:rPr lang="en-US" baseline="0" dirty="0"/>
              <a:t>Can anyone recognize a problem applying regression to a binary classificati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6685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FE20BB20-B012-43D1-9405-CFC2D3949679}" type="slidenum">
              <a:rPr lang="en-US" altLang="en-US">
                <a:latin typeface="Calibri" panose="020F0502020204030204" pitchFamily="34" charset="0"/>
              </a:rPr>
              <a:pPr eaLnBrk="1" hangingPunct="1"/>
              <a:t>76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4654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77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9350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4710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5FC5B10B-B67A-4071-8F07-74D75E8F5F4A}" type="slidenum">
              <a:rPr lang="en-US" altLang="en-US">
                <a:latin typeface="Calibri" panose="020F0502020204030204" pitchFamily="34" charset="0"/>
              </a:rPr>
              <a:pPr eaLnBrk="1" hangingPunct="1"/>
              <a:t>80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495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2/19/2019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2/19/2019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2/19/2019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2/19/2019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2/19/2019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2/1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2/19/2019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2/19/2019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2/19/2019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6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5.emf"/><Relationship Id="rId4" Type="http://schemas.openxmlformats.org/officeDocument/2006/relationships/package" Target="../embeddings/Microsoft_Word_Document.docx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6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fivethirtyeight.com/features/how-a-data-scientist-whod-never-heard-of-basketball-mastered-march-madness/" TargetMode="External"/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 &amp; Logistic 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2/19/2019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a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seldom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t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 and binary classification.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3713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Methods: Classification and Predictio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>
          <mc:Choice xmlns:a14="http://schemas.microsoft.com/office/drawing/2010/main"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846595"/>
              </p:ext>
            </p:extLst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210109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829109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17432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8863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C_Regression_v1.R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Topics</a:t>
            </a:r>
          </a:p>
        </p:txBody>
      </p:sp>
      <p:sp>
        <p:nvSpPr>
          <p:cNvPr id="9219" name="Rectangle 3"/>
          <p:cNvSpPr>
            <a:spLocks noGrp="1"/>
          </p:cNvSpPr>
          <p:nvPr>
            <p:ph type="body" idx="1"/>
          </p:nvPr>
        </p:nvSpPr>
        <p:spPr>
          <a:xfrm>
            <a:off x="914400" y="1676400"/>
            <a:ext cx="7772400" cy="4572000"/>
          </a:xfrm>
        </p:spPr>
        <p:txBody>
          <a:bodyPr/>
          <a:lstStyle/>
          <a:p>
            <a:r>
              <a:rPr lang="en-US" altLang="en-US" dirty="0">
                <a:latin typeface="Franklin Gothic Book" panose="020B0503020102020204" pitchFamily="34" charset="0"/>
              </a:rPr>
              <a:t>Explanatory vs. predictive modeling with regression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Example: prices of Toyota Corollas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Fitting a predictive model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Assessing predictive accuracy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Selecting a subset of predictors</a:t>
            </a:r>
          </a:p>
          <a:p>
            <a:endParaRPr lang="en-US" altLang="en-US" dirty="0">
              <a:latin typeface="Franklin Gothic Book" panose="020B0503020102020204" pitchFamily="34" charset="0"/>
            </a:endParaRPr>
          </a:p>
        </p:txBody>
      </p:sp>
      <p:sp>
        <p:nvSpPr>
          <p:cNvPr id="9220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914400" y="6172200"/>
            <a:ext cx="39624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chemeClr val="tx2"/>
                </a:solidFill>
                <a:latin typeface="Perpetua" panose="02020502060401020303" pitchFamily="18" charset="0"/>
              </a:rPr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242025949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206240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viewing beta coefficients can explain relationship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724" y="2966605"/>
            <a:ext cx="3305175" cy="1257300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2044930" y="3790604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9.534 for each room.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new data points for prediction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84136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/>
              <a:t>Remember the Workfl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S-96</a:t>
            </a:r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Formulation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requiremen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~1400 cars &amp; car attributes 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Explore the data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Asses/Adjust the Project Artifacts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ocument to make it repeatable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Results</a:t>
            </a: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0886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When used with </a:t>
            </a:r>
            <a:r>
              <a:rPr lang="en-US" altLang="en-US" u="sng">
                <a:latin typeface="Franklin Gothic Book" pitchFamily="34" charset="0"/>
              </a:rPr>
              <a:t>new</a:t>
            </a:r>
            <a:r>
              <a:rPr lang="en-US" altLang="en-US">
                <a:latin typeface="Franklin Gothic Book" pitchFamily="34" charset="0"/>
              </a:rPr>
              <a:t> data, models of great complexity do not do so well.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score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55780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99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89154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Vs Logistic Regr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322" y="1277504"/>
            <a:ext cx="6840415" cy="436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4964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784" y="1306897"/>
            <a:ext cx="7930662" cy="5052352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inary (Price &gt;$11K = 1)</a:t>
            </a:r>
          </a:p>
        </p:txBody>
      </p:sp>
    </p:spTree>
    <p:extLst>
      <p:ext uri="{BB962C8B-B14F-4D97-AF65-F5344CB8AC3E}">
        <p14:creationId xmlns:p14="http://schemas.microsoft.com/office/powerpoint/2010/main" val="119514305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uh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553" y="1294125"/>
            <a:ext cx="7561385" cy="482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73071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find out firsthan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08892" y="1406769"/>
            <a:ext cx="3822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E_lm_for</a:t>
            </a:r>
            <a:r>
              <a:rPr lang="en-US" sz="2800" b="1" u="sng" dirty="0"/>
              <a:t> </a:t>
            </a:r>
            <a:r>
              <a:rPr lang="en-US" sz="2800" b="1" u="sng" dirty="0" err="1"/>
              <a:t>classes.R</a:t>
            </a:r>
            <a:endParaRPr lang="en-US" sz="2800" b="1" u="sng" dirty="0"/>
          </a:p>
        </p:txBody>
      </p:sp>
    </p:spTree>
    <p:extLst>
      <p:ext uri="{BB962C8B-B14F-4D97-AF65-F5344CB8AC3E}">
        <p14:creationId xmlns:p14="http://schemas.microsoft.com/office/powerpoint/2010/main" val="83969604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738554" y="1453662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Extends idea of linear regression to situation where outcome variable is categorical</a:t>
            </a:r>
          </a:p>
          <a:p>
            <a:endParaRPr lang="en-US" altLang="en-US" dirty="0"/>
          </a:p>
          <a:p>
            <a:r>
              <a:rPr lang="en-US" altLang="en-US" dirty="0"/>
              <a:t>Widely used, particularly where a structured model is useful to explain (=</a:t>
            </a:r>
            <a:r>
              <a:rPr lang="en-US" altLang="en-US" i="1" dirty="0"/>
              <a:t>profiling</a:t>
            </a:r>
            <a:r>
              <a:rPr lang="en-US" altLang="en-US" dirty="0"/>
              <a:t>) or to predict</a:t>
            </a:r>
          </a:p>
          <a:p>
            <a:endParaRPr lang="en-US" altLang="en-US" dirty="0"/>
          </a:p>
          <a:p>
            <a:r>
              <a:rPr lang="en-US" altLang="en-US" dirty="0"/>
              <a:t>Instead of ordinary least squares, </a:t>
            </a:r>
            <a:r>
              <a:rPr lang="en-US" altLang="en-US" i="1" dirty="0">
                <a:latin typeface="Symbol" panose="05050102010706020507" pitchFamily="18" charset="2"/>
              </a:rPr>
              <a:t>b </a:t>
            </a:r>
            <a:r>
              <a:rPr lang="en-US" altLang="en-US" dirty="0"/>
              <a:t>estimates are derived through an iterative process called </a:t>
            </a:r>
            <a:r>
              <a:rPr lang="en-US" altLang="en-US" i="1" dirty="0"/>
              <a:t>maximum likelihood estimation</a:t>
            </a:r>
          </a:p>
          <a:p>
            <a:endParaRPr lang="en-US" altLang="en-US" dirty="0"/>
          </a:p>
          <a:p>
            <a:r>
              <a:rPr lang="en-US" altLang="en-US" dirty="0"/>
              <a:t>We focus on binary classification</a:t>
            </a:r>
          </a:p>
          <a:p>
            <a:pPr lvl="1">
              <a:buFont typeface="Wingdings 2" panose="05020102010507070707" pitchFamily="18" charset="2"/>
              <a:buNone/>
            </a:pPr>
            <a:r>
              <a:rPr lang="en-US" altLang="en-US" dirty="0"/>
              <a:t>i.e.  </a:t>
            </a:r>
            <a:r>
              <a:rPr lang="en-US" altLang="en-US" i="1" dirty="0"/>
              <a:t>Y</a:t>
            </a:r>
            <a:r>
              <a:rPr lang="en-US" altLang="en-US" dirty="0"/>
              <a:t>=0 or </a:t>
            </a:r>
            <a:r>
              <a:rPr lang="en-US" altLang="en-US" i="1" dirty="0"/>
              <a:t>Y</a:t>
            </a:r>
            <a:r>
              <a:rPr lang="en-US" altLang="en-US" dirty="0"/>
              <a:t>=1</a:t>
            </a:r>
          </a:p>
          <a:p>
            <a:endParaRPr lang="en-US" altLang="en-US" dirty="0"/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80160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The Logit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2933115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b="1" dirty="0"/>
              <a:t>Goal:</a:t>
            </a:r>
            <a:r>
              <a:rPr lang="en-US" altLang="en-US" dirty="0"/>
              <a:t> Find a function of the predictor variables that relates them to a 0/1 outcome</a:t>
            </a:r>
          </a:p>
          <a:p>
            <a:pPr eaLnBrk="1" hangingPunct="1"/>
            <a:endParaRPr lang="en-US" altLang="en-US" dirty="0"/>
          </a:p>
          <a:p>
            <a:pPr eaLnBrk="1" hangingPunct="1"/>
            <a:r>
              <a:rPr lang="en-US" altLang="en-US" dirty="0"/>
              <a:t>Instead of </a:t>
            </a:r>
            <a:r>
              <a:rPr lang="en-US" altLang="en-US" i="1" dirty="0"/>
              <a:t>Y</a:t>
            </a:r>
            <a:r>
              <a:rPr lang="en-US" altLang="en-US" dirty="0"/>
              <a:t> as outcome variable (like in linear regression), we use a function of Y called the </a:t>
            </a:r>
            <a:r>
              <a:rPr lang="en-US" altLang="en-US" b="1" i="1" dirty="0"/>
              <a:t>logit</a:t>
            </a:r>
          </a:p>
          <a:p>
            <a:pPr eaLnBrk="1" hangingPunct="1"/>
            <a:r>
              <a:rPr lang="en-US" altLang="en-US" dirty="0"/>
              <a:t>Logit can be modeled as a linear function of the predictors</a:t>
            </a:r>
          </a:p>
          <a:p>
            <a:pPr eaLnBrk="1" hangingPunct="1"/>
            <a:r>
              <a:rPr lang="en-US" altLang="en-US" dirty="0"/>
              <a:t>The logit can be mapped back to a probability, which, in turn, can be mapped to a class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pic>
        <p:nvPicPr>
          <p:cNvPr id="86018" name="Picture 2" descr="Image result for logi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034" y="3939808"/>
            <a:ext cx="3333750" cy="2171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ight Brace 1"/>
          <p:cNvSpPr/>
          <p:nvPr/>
        </p:nvSpPr>
        <p:spPr>
          <a:xfrm>
            <a:off x="5328140" y="3938954"/>
            <a:ext cx="879231" cy="21453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295293" y="4589583"/>
            <a:ext cx="2989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is is a continuous outcome but has little change  as it approaches -1 &amp; 1.</a:t>
            </a:r>
          </a:p>
        </p:txBody>
      </p:sp>
    </p:spTree>
    <p:extLst>
      <p:ext uri="{BB962C8B-B14F-4D97-AF65-F5344CB8AC3E}">
        <p14:creationId xmlns:p14="http://schemas.microsoft.com/office/powerpoint/2010/main" val="264148258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600"/>
              <a:t>Step 1: Logistic Response Function</a:t>
            </a:r>
          </a:p>
        </p:txBody>
      </p:sp>
      <p:sp>
        <p:nvSpPr>
          <p:cNvPr id="1028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1350499"/>
          </a:xfrm>
        </p:spPr>
        <p:txBody>
          <a:bodyPr/>
          <a:lstStyle/>
          <a:p>
            <a:pPr marL="0" indent="0" eaLnBrk="1" hangingPunct="1">
              <a:buFont typeface="Wingdings 2" panose="05020102010507070707" pitchFamily="18" charset="2"/>
              <a:buNone/>
            </a:pPr>
            <a:r>
              <a:rPr lang="en-US" altLang="en-US" i="1" dirty="0"/>
              <a:t>p</a:t>
            </a:r>
            <a:r>
              <a:rPr lang="en-US" altLang="en-US" dirty="0"/>
              <a:t> = probability of belonging to class 1</a:t>
            </a:r>
          </a:p>
          <a:p>
            <a:pPr marL="0" indent="0" eaLnBrk="1" hangingPunct="1">
              <a:buFont typeface="Wingdings 2" panose="05020102010507070707" pitchFamily="18" charset="2"/>
              <a:buNone/>
            </a:pPr>
            <a:endParaRPr lang="en-US" altLang="en-US" dirty="0"/>
          </a:p>
          <a:p>
            <a:pPr marL="0" indent="0" eaLnBrk="1" hangingPunct="1">
              <a:buFont typeface="Wingdings 2" panose="05020102010507070707" pitchFamily="18" charset="2"/>
              <a:buNone/>
            </a:pPr>
            <a:r>
              <a:rPr lang="en-US" altLang="en-US" dirty="0"/>
              <a:t>Need to relate </a:t>
            </a:r>
            <a:r>
              <a:rPr lang="en-US" altLang="en-US" i="1" dirty="0"/>
              <a:t>p</a:t>
            </a:r>
            <a:r>
              <a:rPr lang="en-US" altLang="en-US" dirty="0"/>
              <a:t> to predictors with a function that guarantees 0 </a:t>
            </a:r>
            <a:r>
              <a:rPr lang="en-US" altLang="en-US" dirty="0">
                <a:sym typeface="Symbol" panose="05050102010706020507" pitchFamily="18" charset="2"/>
              </a:rPr>
              <a:t></a:t>
            </a:r>
            <a:r>
              <a:rPr lang="en-US" altLang="en-US" dirty="0"/>
              <a:t> </a:t>
            </a:r>
            <a:r>
              <a:rPr lang="en-US" altLang="en-US" i="1" dirty="0"/>
              <a:t>p</a:t>
            </a:r>
            <a:r>
              <a:rPr lang="en-US" altLang="en-US" dirty="0"/>
              <a:t> </a:t>
            </a:r>
            <a:r>
              <a:rPr lang="en-US" altLang="en-US" dirty="0">
                <a:sym typeface="Symbol" panose="05050102010706020507" pitchFamily="18" charset="2"/>
              </a:rPr>
              <a:t></a:t>
            </a:r>
            <a:r>
              <a:rPr lang="en-US" altLang="en-US" dirty="0"/>
              <a:t> 1</a:t>
            </a:r>
          </a:p>
          <a:p>
            <a:pPr marL="0" indent="0" eaLnBrk="1" hangingPunct="1"/>
            <a:endParaRPr lang="en-US" altLang="en-US" dirty="0"/>
          </a:p>
          <a:p>
            <a:pPr marL="0" indent="0" eaLnBrk="1" hangingPunct="1"/>
            <a:endParaRPr lang="en-US" altLang="en-US" dirty="0"/>
          </a:p>
          <a:p>
            <a:pPr marL="0" indent="0" eaLnBrk="1" hangingPunct="1">
              <a:buFont typeface="Wingdings 2" panose="05020102010507070707" pitchFamily="18" charset="2"/>
              <a:buNone/>
            </a:pPr>
            <a:endParaRPr lang="en-US" alt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81351" y="2743199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116623" y="4413728"/>
            <a:ext cx="69107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169983" y="4964314"/>
            <a:ext cx="9862533" cy="1166855"/>
            <a:chOff x="-759635" y="2037702"/>
            <a:chExt cx="8955259" cy="116685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Shape 319"/>
                <p:cNvSpPr txBox="1"/>
                <p:nvPr/>
              </p:nvSpPr>
              <p:spPr>
                <a:xfrm>
                  <a:off x="1683664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9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83664" y="2248718"/>
                  <a:ext cx="6511960" cy="504600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l="-1274" t="-2410" b="-2530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Shape 320"/>
            <p:cNvSpPr txBox="1"/>
            <p:nvPr/>
          </p:nvSpPr>
          <p:spPr>
            <a:xfrm>
              <a:off x="-759635" y="2037702"/>
              <a:ext cx="803673" cy="116685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Logit of </a:t>
              </a:r>
            </a:p>
          </p:txBody>
        </p:sp>
      </p:grpSp>
      <p:pic>
        <p:nvPicPr>
          <p:cNvPr id="21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03585" y="4923693"/>
            <a:ext cx="636521" cy="12017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492369" y="2497015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56846" y="4548553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pic>
        <p:nvPicPr>
          <p:cNvPr id="24" name="Picture 2" descr="Image result for logi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11" y="5169877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295142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outcome is log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Shape 319"/>
              <p:cNvSpPr txBox="1"/>
              <p:nvPr/>
            </p:nvSpPr>
            <p:spPr>
              <a:xfrm>
                <a:off x="2162189" y="3065176"/>
                <a:ext cx="7171695" cy="5046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91425" rIns="91425" bIns="91425" anchor="t" anchorCtr="0">
                <a:noAutofit/>
              </a:bodyPr>
              <a:lstStyle/>
              <a:p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=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*temperature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*day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*price + error</a:t>
                </a:r>
              </a:p>
            </p:txBody>
          </p:sp>
        </mc:Choice>
        <mc:Fallback xmlns="">
          <p:sp>
            <p:nvSpPr>
              <p:cNvPr id="7" name="Shape 3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2189" y="3065176"/>
                <a:ext cx="7171695" cy="504600"/>
              </a:xfrm>
              <a:prstGeom prst="rect">
                <a:avLst/>
              </a:prstGeom>
              <a:blipFill rotWithShape="0">
                <a:blip r:embed="rId2"/>
                <a:stretch>
                  <a:fillRect l="-1361" t="-2410" b="-2530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2" descr="Image result for logi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928" y="3059723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85800" y="5275385"/>
            <a:ext cx="7578969" cy="6330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nce the outcome now links to a math function (logit) with a hard to interpret output, the output needs to be adjusted to get something meaningful.</a:t>
            </a:r>
          </a:p>
        </p:txBody>
      </p:sp>
    </p:spTree>
    <p:extLst>
      <p:ext uri="{BB962C8B-B14F-4D97-AF65-F5344CB8AC3E}">
        <p14:creationId xmlns:p14="http://schemas.microsoft.com/office/powerpoint/2010/main" val="51876299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culating Probability from Log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914400" y="1524000"/>
            <a:ext cx="7772400" cy="11430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300"/>
              <a:t>The Fix: </a:t>
            </a:r>
            <a:br>
              <a:rPr lang="en-US" altLang="en-US" sz="4300"/>
            </a:br>
            <a:r>
              <a:rPr lang="en-US" altLang="en-US" sz="4300"/>
              <a:t>use </a:t>
            </a:r>
            <a:r>
              <a:rPr lang="en-US" altLang="en-US" sz="4300" b="1" i="1"/>
              <a:t>logistic response function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895600" y="4642329"/>
            <a:ext cx="3833813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algn="ctr" eaLnBrk="1" hangingPunct="1">
              <a:spcBef>
                <a:spcPts val="375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None/>
            </a:pPr>
            <a:r>
              <a:rPr lang="en-US" altLang="en-US" sz="2200">
                <a:latin typeface="Franklin Gothic Book" panose="020B0503020102020204" pitchFamily="34" charset="0"/>
              </a:rPr>
              <a:t>Equation 10.2 in textboo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/>
              <p:cNvSpPr/>
              <p:nvPr/>
            </p:nvSpPr>
            <p:spPr>
              <a:xfrm>
                <a:off x="1723292" y="5468815"/>
                <a:ext cx="6875585" cy="33855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𝑛𝑎𝑡𝑢𝑎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𝑎𝑟𝑖𝑡h𝑚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~2.718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9" name="Rectangle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3292" y="5468815"/>
                <a:ext cx="6875585" cy="338554"/>
              </a:xfrm>
              <a:prstGeom prst="rect">
                <a:avLst/>
              </a:prstGeom>
              <a:blipFill rotWithShape="0">
                <a:blip r:embed="rId3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0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77076490"/>
              </p:ext>
            </p:extLst>
          </p:nvPr>
        </p:nvGraphicFramePr>
        <p:xfrm>
          <a:off x="-2590800" y="2813529"/>
          <a:ext cx="14385925" cy="1690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8" name="Document" r:id="rId4" imgW="4123414" imgH="484801" progId="Word.Document.12">
                  <p:embed/>
                </p:oleObj>
              </mc:Choice>
              <mc:Fallback>
                <p:oleObj name="Document" r:id="rId4" imgW="4123414" imgH="484801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590800" y="2813529"/>
                        <a:ext cx="14385925" cy="1690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88566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>
                <a:latin typeface="Franklin Gothic Book" pitchFamily="34" charset="0"/>
              </a:rPr>
              <a:t>Too many predictors</a:t>
            </a:r>
          </a:p>
          <a:p>
            <a:pPr marL="742950" lvl="1" indent="-285750">
              <a:defRPr/>
            </a:pPr>
            <a:r>
              <a:rPr lang="en-US" sz="2200">
                <a:latin typeface="Franklin Gothic Book" pitchFamily="34" charset="0"/>
              </a:rPr>
              <a:t>A model with too many parameters </a:t>
            </a:r>
          </a:p>
          <a:p>
            <a:pPr marL="742950" lvl="1" indent="-285750">
              <a:defRPr/>
            </a:pPr>
            <a:r>
              <a:rPr lang="en-US" sz="2200">
                <a:latin typeface="Franklin Gothic Book" pitchFamily="34" charset="0"/>
              </a:rPr>
              <a:t>Trying many different models</a:t>
            </a:r>
          </a:p>
          <a:p>
            <a:pPr marL="742950" lvl="1" indent="-285750">
              <a:defRPr/>
            </a:pPr>
            <a:r>
              <a:rPr lang="en-US" sz="220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>
                <a:latin typeface="Franklin Gothic Book" pitchFamily="34" charset="0"/>
              </a:rPr>
              <a:t>Consequence:  Deployed model will not work as well as expected with completely new data.</a:t>
            </a:r>
            <a:endParaRPr 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ingle Predictor Model</a:t>
            </a:r>
          </a:p>
        </p:txBody>
      </p:sp>
      <p:sp>
        <p:nvSpPr>
          <p:cNvPr id="2048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1600200"/>
            <a:ext cx="8763000" cy="4419600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/>
              <a:t>Modeling loan acceptance on income (</a:t>
            </a:r>
            <a:r>
              <a:rPr lang="en-US" altLang="en-US" i="1"/>
              <a:t>x</a:t>
            </a:r>
            <a:r>
              <a:rPr lang="en-US" altLang="en-US"/>
              <a:t>)</a:t>
            </a:r>
          </a:p>
          <a:p>
            <a:pPr eaLnBrk="1" hangingPunct="1"/>
            <a:endParaRPr lang="en-US" altLang="en-US"/>
          </a:p>
          <a:p>
            <a:pPr eaLnBrk="1" hangingPunct="1"/>
            <a:endParaRPr lang="en-US" altLang="en-US"/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/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/>
          </a:p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/>
              <a:t>Fitted coefficients (more later): b</a:t>
            </a:r>
            <a:r>
              <a:rPr lang="en-US" altLang="en-US" baseline="-25000"/>
              <a:t>0</a:t>
            </a:r>
            <a:r>
              <a:rPr lang="en-US" altLang="en-US"/>
              <a:t> = -6.3525, b</a:t>
            </a:r>
            <a:r>
              <a:rPr lang="en-US" altLang="en-US" baseline="-25000"/>
              <a:t>1</a:t>
            </a:r>
            <a:r>
              <a:rPr lang="en-US" altLang="en-US"/>
              <a:t> = -0.0392 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/>
          </a:p>
        </p:txBody>
      </p:sp>
      <p:pic>
        <p:nvPicPr>
          <p:cNvPr id="2048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62" y="2226897"/>
            <a:ext cx="7905750" cy="99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63" y="5105400"/>
            <a:ext cx="7500937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341930419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h math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/>
              <p:cNvSpPr/>
              <p:nvPr/>
            </p:nvSpPr>
            <p:spPr>
              <a:xfrm>
                <a:off x="1134208" y="5715005"/>
                <a:ext cx="6875585" cy="33855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𝑛𝑎𝑡𝑢𝑎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𝑎𝑟𝑖𝑡h𝑚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~2.718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6" name="Rectangle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4208" y="5715005"/>
                <a:ext cx="6875585" cy="338554"/>
              </a:xfrm>
              <a:prstGeom prst="rect">
                <a:avLst/>
              </a:prstGeom>
              <a:blipFill rotWithShape="0">
                <a:blip r:embed="rId2"/>
                <a:stretch>
                  <a:fillRect b="-909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1134208" y="1101964"/>
                <a:ext cx="6875585" cy="33855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𝑝𝑟𝑒𝑓𝑒𝑟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𝑜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𝑢𝑠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𝑑𝑖𝑓𝑓𝑒𝑟𝑒𝑛𝑡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𝑞𝑢𝑎𝑡𝑖𝑜𝑛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4208" y="1101964"/>
                <a:ext cx="6875585" cy="338554"/>
              </a:xfrm>
              <a:prstGeom prst="rect">
                <a:avLst/>
              </a:prstGeom>
              <a:blipFill rotWithShape="0">
                <a:blip r:embed="rId3"/>
                <a:stretch>
                  <a:fillRect b="-1090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2310" y="1734272"/>
            <a:ext cx="7010400" cy="8572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172310" y="1459513"/>
            <a:ext cx="16828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From Wikipedia.co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/>
              <p:cNvSpPr/>
              <p:nvPr/>
            </p:nvSpPr>
            <p:spPr>
              <a:xfrm>
                <a:off x="1145931" y="5287112"/>
                <a:ext cx="6875585" cy="33855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𝑜𝑢𝑡𝑝𝑢𝑡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𝑜𝑓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𝑞𝑢𝑎𝑡𝑖𝑜𝑛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𝑂𝑑𝑑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2" name="Rectangle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5931" y="5287112"/>
                <a:ext cx="6875585" cy="338554"/>
              </a:xfrm>
              <a:prstGeom prst="rect">
                <a:avLst/>
              </a:prstGeom>
              <a:blipFill rotWithShape="0">
                <a:blip r:embed="rId5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" name="Group 17"/>
          <p:cNvGrpSpPr/>
          <p:nvPr/>
        </p:nvGrpSpPr>
        <p:grpSpPr>
          <a:xfrm>
            <a:off x="3552093" y="3305907"/>
            <a:ext cx="2039815" cy="1187569"/>
            <a:chOff x="2989384" y="3305907"/>
            <a:chExt cx="2039815" cy="118756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TextBox 14"/>
                <p:cNvSpPr txBox="1"/>
                <p:nvPr/>
              </p:nvSpPr>
              <p:spPr>
                <a:xfrm>
                  <a:off x="2989384" y="3305907"/>
                  <a:ext cx="2039815" cy="118756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600" i="1" u="sng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en-US" sz="3600" i="1" u="sng" baseline="300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oMath>
                    </m:oMathPara>
                  </a14:m>
                  <a:endParaRPr lang="en-US" sz="3600" i="1" u="sng" baseline="30000" dirty="0">
                    <a:solidFill>
                      <a:schemeClr val="tx1"/>
                    </a:solidFill>
                    <a:latin typeface="Cambria Math" panose="02040503050406030204" pitchFamily="18" charset="0"/>
                  </a:endParaRPr>
                </a:p>
                <a:p>
                  <a:pPr algn="ctr"/>
                  <a:r>
                    <a:rPr lang="en-US" sz="3600" dirty="0">
                      <a:solidFill>
                        <a:schemeClr val="tx1"/>
                      </a:solidFill>
                    </a:rPr>
                    <a:t>(1 +</a:t>
                  </a:r>
                  <a14:m>
                    <m:oMath xmlns:m="http://schemas.openxmlformats.org/officeDocument/2006/math">
                      <m:r>
                        <a:rPr lang="en-US" sz="3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3600" i="1" baseline="300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</m:oMath>
                  </a14:m>
                  <a:r>
                    <a:rPr lang="en-US" sz="3600" dirty="0">
                      <a:solidFill>
                        <a:schemeClr val="tx1"/>
                      </a:solidFill>
                    </a:rPr>
                    <a:t>)</a:t>
                  </a:r>
                </a:p>
              </p:txBody>
            </p:sp>
          </mc:Choice>
          <mc:Fallback xmlns="">
            <p:sp>
              <p:nvSpPr>
                <p:cNvPr id="15" name="TextBox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89384" y="3305907"/>
                  <a:ext cx="2039815" cy="1187569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 b="-18462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7" name="Straight Connector 16"/>
            <p:cNvCxnSpPr/>
            <p:nvPr/>
          </p:nvCxnSpPr>
          <p:spPr>
            <a:xfrm>
              <a:off x="2989384" y="3829352"/>
              <a:ext cx="203981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584912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953E96-5439-4651-9253-BEE3754D0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679F8-3EFF-4900-B18E-D9BB94FB7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Outp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7F43FC-2747-49B9-AF8E-F37403AAD6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A62E1C-D411-46B4-875B-5C283D28A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ECC386-9B8E-492C-9310-86EBB7312BCD}"/>
              </a:ext>
            </a:extLst>
          </p:cNvPr>
          <p:cNvSpPr txBox="1"/>
          <p:nvPr/>
        </p:nvSpPr>
        <p:spPr>
          <a:xfrm>
            <a:off x="363416" y="1677124"/>
            <a:ext cx="22368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robability of a Class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47BB75-B1D0-4F38-908C-A06BBC9D6837}"/>
              </a:ext>
            </a:extLst>
          </p:cNvPr>
          <p:cNvSpPr txBox="1"/>
          <p:nvPr/>
        </p:nvSpPr>
        <p:spPr>
          <a:xfrm>
            <a:off x="431541" y="2150736"/>
            <a:ext cx="248606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etween 0 &amp; 1</a:t>
            </a:r>
          </a:p>
          <a:p>
            <a:pPr marL="574675" lvl="1" indent="-117475">
              <a:buFont typeface="Arial" panose="020B0604020202020204" pitchFamily="34" charset="0"/>
              <a:buChar char="•"/>
            </a:pPr>
            <a:r>
              <a:rPr lang="en-US" dirty="0"/>
              <a:t>Probability is 0.25 </a:t>
            </a:r>
          </a:p>
          <a:p>
            <a:pPr marL="574675" lvl="1" indent="-117475">
              <a:buFont typeface="Arial" panose="020B0604020202020204" pitchFamily="34" charset="0"/>
              <a:buChar char="•"/>
            </a:pPr>
            <a:r>
              <a:rPr lang="en-US" dirty="0"/>
              <a:t>Probability is .51</a:t>
            </a:r>
          </a:p>
          <a:p>
            <a:pPr marL="574675" lvl="1" indent="-117475">
              <a:buFont typeface="Arial" panose="020B0604020202020204" pitchFamily="34" charset="0"/>
              <a:buChar char="•"/>
            </a:pPr>
            <a:r>
              <a:rPr lang="en-US" dirty="0"/>
              <a:t>Probability is .98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56A260-C3E9-47B1-B4D5-CB72AC9A3AEE}"/>
              </a:ext>
            </a:extLst>
          </p:cNvPr>
          <p:cNvSpPr txBox="1"/>
          <p:nvPr/>
        </p:nvSpPr>
        <p:spPr>
          <a:xfrm>
            <a:off x="363416" y="3766673"/>
            <a:ext cx="25348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Classification into a cla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BB251C-05F0-42FA-AF26-2CE759205AA1}"/>
              </a:ext>
            </a:extLst>
          </p:cNvPr>
          <p:cNvSpPr txBox="1"/>
          <p:nvPr/>
        </p:nvSpPr>
        <p:spPr>
          <a:xfrm>
            <a:off x="431541" y="4240285"/>
            <a:ext cx="68878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a probability if greater than a cutoff, then make it the success cla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You need to define cutoff, usually 0.5 to start</a:t>
            </a:r>
          </a:p>
        </p:txBody>
      </p:sp>
    </p:spTree>
    <p:extLst>
      <p:ext uri="{BB962C8B-B14F-4D97-AF65-F5344CB8AC3E}">
        <p14:creationId xmlns:p14="http://schemas.microsoft.com/office/powerpoint/2010/main" val="32177041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C0CD8E-5357-44DF-AC6D-B3B079A5AA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4FA7A4-A7C0-4860-8CA4-EB3D8BDE5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Probability Foc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4741E1-EDBA-4D3E-8349-9E6201C0C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AB86DD-1970-481D-B024-FBD6FA6DA6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2CC794-86DA-47CC-BE56-09D9F70DDDA3}"/>
              </a:ext>
            </a:extLst>
          </p:cNvPr>
          <p:cNvSpPr/>
          <p:nvPr/>
        </p:nvSpPr>
        <p:spPr>
          <a:xfrm>
            <a:off x="1134208" y="1545599"/>
            <a:ext cx="6875585" cy="4616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Logistic Regression for hospital readmission result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3DF60D2-B10A-4E21-B8D3-596BE9EC08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1686510"/>
              </p:ext>
            </p:extLst>
          </p:nvPr>
        </p:nvGraphicFramePr>
        <p:xfrm>
          <a:off x="1134207" y="2224806"/>
          <a:ext cx="6875586" cy="161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1862">
                  <a:extLst>
                    <a:ext uri="{9D8B030D-6E8A-4147-A177-3AD203B41FA5}">
                      <a16:colId xmlns:a16="http://schemas.microsoft.com/office/drawing/2014/main" val="3541877015"/>
                    </a:ext>
                  </a:extLst>
                </a:gridCol>
                <a:gridCol w="2291862">
                  <a:extLst>
                    <a:ext uri="{9D8B030D-6E8A-4147-A177-3AD203B41FA5}">
                      <a16:colId xmlns:a16="http://schemas.microsoft.com/office/drawing/2014/main" val="4235599116"/>
                    </a:ext>
                  </a:extLst>
                </a:gridCol>
                <a:gridCol w="2291862">
                  <a:extLst>
                    <a:ext uri="{9D8B030D-6E8A-4147-A177-3AD203B41FA5}">
                      <a16:colId xmlns:a16="http://schemas.microsoft.com/office/drawing/2014/main" val="27502376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co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admission Model Resul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inal Classification</a:t>
                      </a:r>
                    </a:p>
                    <a:p>
                      <a:r>
                        <a:rPr lang="en-US" dirty="0"/>
                        <a:t>Readmission “Yes” or “No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3322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atient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6134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atient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791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atient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27156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15871E4-BA8C-4CD4-B8EE-02CD4DDF6340}"/>
              </a:ext>
            </a:extLst>
          </p:cNvPr>
          <p:cNvSpPr txBox="1"/>
          <p:nvPr/>
        </p:nvSpPr>
        <p:spPr>
          <a:xfrm>
            <a:off x="1134207" y="4498134"/>
            <a:ext cx="68755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Which of the three is most likely to readmit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t 0.50 which patients will be classified as Yes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f you want to save as many lives as possible, and readmit more patients, what should the cutoff threshold be?</a:t>
            </a:r>
          </a:p>
        </p:txBody>
      </p:sp>
    </p:spTree>
    <p:extLst>
      <p:ext uri="{BB962C8B-B14F-4D97-AF65-F5344CB8AC3E}">
        <p14:creationId xmlns:p14="http://schemas.microsoft.com/office/powerpoint/2010/main" val="330438489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AA Classification Mad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809120" y="1522390"/>
            <a:ext cx="2714964" cy="362990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College Basketball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Annual 64 team tournament</a:t>
            </a:r>
          </a:p>
          <a:p>
            <a:pPr marL="0" indent="0">
              <a:buNone/>
            </a:pPr>
            <a:endParaRPr lang="en-US" sz="20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  <a:p>
            <a:pPr marL="0" indent="0">
              <a:buNone/>
            </a:pPr>
            <a:r>
              <a:rPr lang="en-US" sz="2000" b="1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usiness Impact: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1B wagered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2B in lost productivity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ragging Rights</a:t>
            </a:r>
          </a:p>
        </p:txBody>
      </p:sp>
      <p:pic>
        <p:nvPicPr>
          <p:cNvPr id="7" name="Picture 2" descr="http://ll-media.tmz.com/2013/02/28/0228-adidas-ncaa-jerseys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9" y="1452131"/>
            <a:ext cx="5029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27538" y="5609492"/>
            <a:ext cx="8071339" cy="404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jective: Identify the probability of a team winning in Round 1.</a:t>
            </a:r>
          </a:p>
        </p:txBody>
      </p:sp>
    </p:spTree>
    <p:extLst>
      <p:ext uri="{BB962C8B-B14F-4D97-AF65-F5344CB8AC3E}">
        <p14:creationId xmlns:p14="http://schemas.microsoft.com/office/powerpoint/2010/main" val="319121090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friend Mandy is next leve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62658" y="5833633"/>
            <a:ext cx="8818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https://fivethirtyeight.com/features/how-a-data-scientist-whod-never-heard-of-basketball-mastered-march-madness/</a:t>
            </a:r>
            <a:endParaRPr lang="en-US" sz="1400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623" y="1479982"/>
            <a:ext cx="6910754" cy="389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03610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77515" y="1459832"/>
            <a:ext cx="59826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Open </a:t>
            </a:r>
            <a:r>
              <a:rPr lang="en-US" sz="2800" b="1" dirty="0" err="1"/>
              <a:t>G_fullyMarchMadnessREVISED.R</a:t>
            </a:r>
            <a:endParaRPr lang="en-US" sz="2800" b="1" dirty="0"/>
          </a:p>
        </p:txBody>
      </p:sp>
      <p:sp>
        <p:nvSpPr>
          <p:cNvPr id="7" name="Rectangle 6"/>
          <p:cNvSpPr/>
          <p:nvPr/>
        </p:nvSpPr>
        <p:spPr>
          <a:xfrm>
            <a:off x="2586038" y="3114675"/>
            <a:ext cx="4086225" cy="1285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 skip over the “F” </a:t>
            </a:r>
            <a:r>
              <a:rPr lang="en-US" dirty="0" err="1"/>
              <a:t>Rscript</a:t>
            </a:r>
            <a:r>
              <a:rPr lang="en-US" dirty="0"/>
              <a:t> which builds a single variable logistic regression.  </a:t>
            </a:r>
          </a:p>
        </p:txBody>
      </p:sp>
    </p:spTree>
    <p:extLst>
      <p:ext uri="{BB962C8B-B14F-4D97-AF65-F5344CB8AC3E}">
        <p14:creationId xmlns:p14="http://schemas.microsoft.com/office/powerpoint/2010/main" val="48990608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Class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66274" y="1475876"/>
            <a:ext cx="1797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Confusion Matrix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125" y="1855120"/>
            <a:ext cx="2750733" cy="13212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465095" y="1780675"/>
            <a:ext cx="499861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predicted losers 390 (316 + 74)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was correct 316 times for lo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predicted 378 winners (68+31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was correct 310 times for winners</a:t>
            </a:r>
          </a:p>
        </p:txBody>
      </p:sp>
    </p:spTree>
    <p:extLst>
      <p:ext uri="{BB962C8B-B14F-4D97-AF65-F5344CB8AC3E}">
        <p14:creationId xmlns:p14="http://schemas.microsoft.com/office/powerpoint/2010/main" val="10118151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Logistic regression is similar to linear regression, except that it is used with a categorical response</a:t>
            </a:r>
          </a:p>
          <a:p>
            <a:r>
              <a:rPr lang="en-US" altLang="en-US" dirty="0"/>
              <a:t>The predictors are related to the response Y via a nonlinear function called the </a:t>
            </a:r>
            <a:r>
              <a:rPr lang="en-US" altLang="en-US" i="1" dirty="0"/>
              <a:t>logit</a:t>
            </a:r>
          </a:p>
          <a:p>
            <a:r>
              <a:rPr lang="en-US" altLang="en-US" dirty="0"/>
              <a:t>As in linear regression, reducing predictors can be done via variable selection</a:t>
            </a:r>
          </a:p>
          <a:p>
            <a:r>
              <a:rPr lang="en-US" altLang="en-US" dirty="0"/>
              <a:t>Logistic regression can be generalized to more than two classes</a:t>
            </a:r>
          </a:p>
        </p:txBody>
      </p:sp>
    </p:spTree>
    <p:extLst>
      <p:ext uri="{BB962C8B-B14F-4D97-AF65-F5344CB8AC3E}">
        <p14:creationId xmlns:p14="http://schemas.microsoft.com/office/powerpoint/2010/main" val="270442250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4692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/>
          </a:p>
          <a:p>
            <a:pPr>
              <a:buFont typeface="Wingdings 2" pitchFamily="18" charset="2"/>
              <a:buNone/>
            </a:pPr>
            <a:endParaRPr lang="en-US" b="1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0" y="1714500"/>
            <a:ext cx="484087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answer Yes/No Business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1054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&amp; Logistic Regression are two good starting algorithms.  Both put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132" y="36433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2" y="39481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6591910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21856" y="1104653"/>
            <a:ext cx="850557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ext Week is KNN &amp; possibly some re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pter 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OKCupid</a:t>
            </a:r>
            <a:r>
              <a:rPr lang="en-US" sz="2400" dirty="0"/>
              <a:t> Cas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All files including slides, code (if applicable) &amp; video</a:t>
            </a:r>
          </a:p>
          <a:p>
            <a:r>
              <a:rPr lang="en-US" sz="2400" dirty="0"/>
              <a:t>	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19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sekeeping , Reading &amp; Ho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89548" y="2878924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89548" y="3796463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628648" y="5100426"/>
            <a:ext cx="7943851" cy="76482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en-US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C6.1 Boston Housing Prices</a:t>
            </a:r>
            <a:endParaRPr lang="en-US" sz="2000" b="1" dirty="0">
              <a:solidFill>
                <a:schemeClr val="bg1"/>
              </a:solidFill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</a:pPr>
            <a:r>
              <a:rPr lang="en-US" sz="2000" b="1" dirty="0">
                <a:solidFill>
                  <a:schemeClr val="bg1"/>
                </a:solidFill>
                <a:effectLst/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0.3 Sales of Riding Lawn Mowers ONLY DO A, B, C &amp; D</a:t>
            </a:r>
          </a:p>
        </p:txBody>
      </p:sp>
    </p:spTree>
    <p:extLst>
      <p:ext uri="{BB962C8B-B14F-4D97-AF65-F5344CB8AC3E}">
        <p14:creationId xmlns:p14="http://schemas.microsoft.com/office/powerpoint/2010/main" val="3638184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69</TotalTime>
  <Words>4305</Words>
  <Application>Microsoft Office PowerPoint</Application>
  <PresentationFormat>On-screen Show (4:3)</PresentationFormat>
  <Paragraphs>967</Paragraphs>
  <Slides>91</Slides>
  <Notes>25</Notes>
  <HiddenSlides>0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1</vt:i4>
      </vt:variant>
    </vt:vector>
  </HeadingPairs>
  <TitlesOfParts>
    <vt:vector size="106" baseType="lpstr">
      <vt:lpstr>Arial</vt:lpstr>
      <vt:lpstr>Calibri</vt:lpstr>
      <vt:lpstr>Calibri Light</vt:lpstr>
      <vt:lpstr>Cambria Math</vt:lpstr>
      <vt:lpstr>Franklin Gothic Book</vt:lpstr>
      <vt:lpstr>Garamond</vt:lpstr>
      <vt:lpstr>Helvetica Neue</vt:lpstr>
      <vt:lpstr>Open Sans</vt:lpstr>
      <vt:lpstr>Perpetua</vt:lpstr>
      <vt:lpstr>Symbol</vt:lpstr>
      <vt:lpstr>Times New Roman</vt:lpstr>
      <vt:lpstr>Wingdings 2</vt:lpstr>
      <vt:lpstr>1_Office Theme</vt:lpstr>
      <vt:lpstr>think-cell Slide</vt:lpstr>
      <vt:lpstr>Document</vt:lpstr>
      <vt:lpstr>Regression &amp; Logistic Regression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Topics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  <vt:lpstr>Agenda</vt:lpstr>
      <vt:lpstr>Regression Vs Logistic Regression</vt:lpstr>
      <vt:lpstr>PowerPoint Presentation</vt:lpstr>
      <vt:lpstr>Huh?</vt:lpstr>
      <vt:lpstr>Let’s find out firsthand.</vt:lpstr>
      <vt:lpstr>Logistic Regression</vt:lpstr>
      <vt:lpstr>The Logit</vt:lpstr>
      <vt:lpstr>Step 1: Logistic Response Function</vt:lpstr>
      <vt:lpstr>The outcome is logits</vt:lpstr>
      <vt:lpstr>Calculating Probability from Logits</vt:lpstr>
      <vt:lpstr>Single Predictor Model</vt:lpstr>
      <vt:lpstr>Oh math…</vt:lpstr>
      <vt:lpstr>Logistic Regression Output</vt:lpstr>
      <vt:lpstr>Logistic Regression Probability Focus</vt:lpstr>
      <vt:lpstr>NCAA Classification Madness</vt:lpstr>
      <vt:lpstr>My friend Mandy is next level.</vt:lpstr>
      <vt:lpstr>Let’s practice</vt:lpstr>
      <vt:lpstr>Evaluating a Classification</vt:lpstr>
      <vt:lpstr>Logistic Regression Summary</vt:lpstr>
      <vt:lpstr>Agenda</vt:lpstr>
      <vt:lpstr>Your Data Mining Toolbox</vt:lpstr>
      <vt:lpstr>Housekeeping , Reading &amp; Homework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54</cp:revision>
  <dcterms:created xsi:type="dcterms:W3CDTF">2018-05-23T17:24:59Z</dcterms:created>
  <dcterms:modified xsi:type="dcterms:W3CDTF">2019-02-19T20:06:56Z</dcterms:modified>
</cp:coreProperties>
</file>